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 /><Relationship Id="rId2" Type="http://schemas.openxmlformats.org/package/2006/relationships/metadata/core-properties" Target="docProps/core.xml" /><Relationship Id="rId1" Type="http://schemas.openxmlformats.org/officeDocument/2006/relationships/officeDocument" Target="ppt/presentation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73" r:id="rId1"/>
  </p:sldMasterIdLst>
  <p:notesMasterIdLst>
    <p:notesMasterId r:id="rId4"/>
  </p:notesMasterIdLst>
  <p:sldIdLst>
    <p:sldId id="618" r:id="rId2"/>
    <p:sldId id="619" r:id="rId3"/>
  </p:sldIdLst>
  <p:sldSz cx="9144000" cy="6858000" type="screen4x3"/>
  <p:notesSz cx="6797675" cy="9926638"/>
  <p:defaultTextStyle>
    <a:defPPr lvl="0">
      <a:defRPr lang="en-US"/>
    </a:defPPr>
    <a:lvl1pPr marL="0" lvl="0" algn="l" defTabSz="914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90" lvl="1" algn="l" defTabSz="914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80" lvl="2" algn="l" defTabSz="914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70" lvl="3" algn="l" defTabSz="914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61" lvl="4" algn="l" defTabSz="914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51" lvl="5" algn="l" defTabSz="914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42" lvl="6" algn="l" defTabSz="914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32" lvl="7" algn="l" defTabSz="914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722" lvl="8" algn="l" defTabSz="91418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Юлия Р. Хафизова" initials="ЮРХ" lastIdx="1" clrIdx="0">
    <p:extLst>
      <p:ext uri="{19B8F6BF-5375-455C-9EA6-DF929625EA0E}">
        <p15:presenceInfo xmlns:p15="http://schemas.microsoft.com/office/powerpoint/2012/main" userId="S-1-5-21-3712582597-2276695691-1274382727-114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7E7"/>
    <a:srgbClr val="FADDCD"/>
    <a:srgbClr val="FCEAE0"/>
    <a:srgbClr val="D75C5C"/>
    <a:srgbClr val="FFBCBC"/>
    <a:srgbClr val="A5D7AD"/>
    <a:srgbClr val="F2F2F2"/>
    <a:srgbClr val="830051"/>
    <a:srgbClr val="FFD757"/>
    <a:srgbClr val="FFD1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0651C3A-4460-11DB-9652-00E08161165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C4B1156A-380E-4F78-BDF5-A606A8083BF9}" styleName="Средний стиль 4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774" autoAdjust="0"/>
    <p:restoredTop sz="96404" autoAdjust="0"/>
  </p:normalViewPr>
  <p:slideViewPr>
    <p:cSldViewPr snapToGrid="0">
      <p:cViewPr varScale="1">
        <p:scale>
          <a:sx n="111" d="100"/>
          <a:sy n="111" d="100"/>
        </p:scale>
        <p:origin x="1584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 /><Relationship Id="rId3" Type="http://schemas.openxmlformats.org/officeDocument/2006/relationships/slide" Target="slides/slide2.xml" /><Relationship Id="rId7" Type="http://schemas.openxmlformats.org/officeDocument/2006/relationships/viewProps" Target="viewProps.xml" /><Relationship Id="rId2" Type="http://schemas.openxmlformats.org/officeDocument/2006/relationships/slide" Target="slides/slide1.xml" /><Relationship Id="rId1" Type="http://schemas.openxmlformats.org/officeDocument/2006/relationships/slideMaster" Target="slideMasters/slideMaster1.xml" /><Relationship Id="rId6" Type="http://schemas.openxmlformats.org/officeDocument/2006/relationships/presProps" Target="presProps.xml" /><Relationship Id="rId5" Type="http://schemas.openxmlformats.org/officeDocument/2006/relationships/commentAuthors" Target="commentAuthors.xml" /><Relationship Id="rId4" Type="http://schemas.openxmlformats.org/officeDocument/2006/relationships/notesMaster" Target="notesMasters/notesMaster1.xml" /><Relationship Id="rId9" Type="http://schemas.openxmlformats.org/officeDocument/2006/relationships/tableStyles" Target="tableStyles.xml" 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0"/>
            <a:ext cx="2945659" cy="498057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9" y="0"/>
            <a:ext cx="2945659" cy="498057"/>
          </a:xfrm>
          <a:prstGeom prst="rect">
            <a:avLst/>
          </a:prstGeom>
        </p:spPr>
        <p:txBody>
          <a:bodyPr vert="horz" lIns="91409" tIns="45704" rIns="91409" bIns="45704" rtlCol="0"/>
          <a:lstStyle>
            <a:lvl1pPr algn="r">
              <a:defRPr sz="1200"/>
            </a:lvl1pPr>
          </a:lstStyle>
          <a:p>
            <a:fld id="{CFB7FEED-C190-4810-913F-7438EE41104D}" type="datetimeFigureOut">
              <a:rPr lang="en-GB" smtClean="0"/>
              <a:pPr/>
              <a:t>08/11/2021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9" tIns="45704" rIns="91409" bIns="45704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7"/>
            <a:ext cx="5438140" cy="3908614"/>
          </a:xfrm>
          <a:prstGeom prst="rect">
            <a:avLst/>
          </a:prstGeom>
        </p:spPr>
        <p:txBody>
          <a:bodyPr vert="horz" lIns="91409" tIns="45704" rIns="91409" bIns="4570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9428586"/>
            <a:ext cx="2945659" cy="498057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9" y="9428586"/>
            <a:ext cx="2945659" cy="498057"/>
          </a:xfrm>
          <a:prstGeom prst="rect">
            <a:avLst/>
          </a:prstGeom>
        </p:spPr>
        <p:txBody>
          <a:bodyPr vert="horz" lIns="91409" tIns="45704" rIns="91409" bIns="45704" rtlCol="0" anchor="b"/>
          <a:lstStyle>
            <a:lvl1pPr algn="r">
              <a:defRPr sz="1200"/>
            </a:lvl1pPr>
          </a:lstStyle>
          <a:p>
            <a:fld id="{CAFDC95A-E73C-4092-8ABF-AE007264C1A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16984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90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80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70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361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451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542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632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722" algn="l" defTabSz="91418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 /><Relationship Id="rId2" Type="http://schemas.openxmlformats.org/officeDocument/2006/relationships/tags" Target="../tags/tag3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1.emf" /><Relationship Id="rId5" Type="http://schemas.openxmlformats.org/officeDocument/2006/relationships/oleObject" Target="../embeddings/oleObject2.bin" /><Relationship Id="rId4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image" Target="../media/image5.png" /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 /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 /><Relationship Id="rId3" Type="http://schemas.openxmlformats.org/officeDocument/2006/relationships/tags" Target="../tags/tag6.xml" /><Relationship Id="rId7" Type="http://schemas.openxmlformats.org/officeDocument/2006/relationships/tags" Target="../tags/tag10.xml" /><Relationship Id="rId2" Type="http://schemas.openxmlformats.org/officeDocument/2006/relationships/tags" Target="../tags/tag5.xml" /><Relationship Id="rId1" Type="http://schemas.openxmlformats.org/officeDocument/2006/relationships/vmlDrawing" Target="../drawings/vmlDrawing3.vml" /><Relationship Id="rId6" Type="http://schemas.openxmlformats.org/officeDocument/2006/relationships/tags" Target="../tags/tag9.xml" /><Relationship Id="rId5" Type="http://schemas.openxmlformats.org/officeDocument/2006/relationships/tags" Target="../tags/tag8.xml" /><Relationship Id="rId10" Type="http://schemas.openxmlformats.org/officeDocument/2006/relationships/image" Target="../media/image1.emf" /><Relationship Id="rId4" Type="http://schemas.openxmlformats.org/officeDocument/2006/relationships/tags" Target="../tags/tag7.xml" /><Relationship Id="rId9" Type="http://schemas.openxmlformats.org/officeDocument/2006/relationships/oleObject" Target="../embeddings/oleObject3.bin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rotown.ru/netcat_files/Image/gerb_chit.gif" TargetMode="External" /><Relationship Id="rId2" Type="http://schemas.openxmlformats.org/officeDocument/2006/relationships/image" Target="../media/image2.jpeg" /><Relationship Id="rId1" Type="http://schemas.openxmlformats.org/officeDocument/2006/relationships/slideMaster" Target="../slideMasters/slideMaster1.xml" /><Relationship Id="rId4" Type="http://schemas.openxmlformats.org/officeDocument/2006/relationships/image" Target="../media/image3.jpeg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 /><Relationship Id="rId2" Type="http://schemas.openxmlformats.org/officeDocument/2006/relationships/tags" Target="../tags/tag11.xml" /><Relationship Id="rId1" Type="http://schemas.openxmlformats.org/officeDocument/2006/relationships/vmlDrawing" Target="../drawings/vmlDrawing4.vml" /><Relationship Id="rId6" Type="http://schemas.openxmlformats.org/officeDocument/2006/relationships/image" Target="../media/image4.png" /><Relationship Id="rId5" Type="http://schemas.openxmlformats.org/officeDocument/2006/relationships/image" Target="../media/image1.emf" /><Relationship Id="rId4" Type="http://schemas.openxmlformats.org/officeDocument/2006/relationships/oleObject" Target="../embeddings/oleObject4.bin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22128A-991B-44AC-98C4-E9935DF1DA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68560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8650" y="924036"/>
            <a:ext cx="7886700" cy="20774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5ED412-4015-46DD-AF45-6BEA5BF3A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2502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2_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84253" y="97876"/>
            <a:ext cx="6602290" cy="558261"/>
          </a:xfrm>
        </p:spPr>
        <p:txBody>
          <a:bodyPr>
            <a:normAutofit/>
          </a:bodyPr>
          <a:lstStyle>
            <a:lvl1pPr>
              <a:defRPr sz="1038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 bwMode="auto">
          <a:xfrm flipH="1">
            <a:off x="295816" y="746053"/>
            <a:ext cx="81000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5300" y="78317"/>
            <a:ext cx="498524" cy="790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081050" y="986143"/>
            <a:ext cx="6981904" cy="4885714"/>
          </a:xfrm>
          <a:prstGeom prst="rect">
            <a:avLst/>
          </a:prstGeom>
        </p:spPr>
      </p:pic>
      <p:sp>
        <p:nvSpPr>
          <p:cNvPr id="13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159544" y="6389108"/>
            <a:ext cx="884281" cy="365124"/>
          </a:xfrm>
        </p:spPr>
        <p:txBody>
          <a:bodyPr/>
          <a:lstStyle/>
          <a:p>
            <a:pPr>
              <a:defRPr/>
            </a:pPr>
            <a:fld id="{E7264718-516D-4284-812E-2FE0C1302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02778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764DE79-268F-4C1A-8933-263129D2AF90}" type="datetimeFigureOut">
              <a:rPr lang="en-US" smtClean="0"/>
              <a:pPr>
                <a:defRPr/>
              </a:pPr>
              <a:t>11/8/2021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8159542" y="6389108"/>
            <a:ext cx="884282" cy="365124"/>
          </a:xfrm>
        </p:spPr>
        <p:txBody>
          <a:bodyPr/>
          <a:lstStyle/>
          <a:p>
            <a:pPr>
              <a:defRPr/>
            </a:pPr>
            <a:fld id="{E7264718-516D-4284-812E-2FE0C1302E6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284253" y="97871"/>
            <a:ext cx="6602291" cy="558261"/>
          </a:xfrm>
        </p:spPr>
        <p:txBody>
          <a:bodyPr>
            <a:normAutofit/>
          </a:bodyPr>
          <a:lstStyle>
            <a:lvl1pPr>
              <a:defRPr sz="1846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cxnSp>
        <p:nvCxnSpPr>
          <p:cNvPr id="9" name="Прямая соединительная линия 8"/>
          <p:cNvCxnSpPr/>
          <p:nvPr userDrawn="1"/>
        </p:nvCxnSpPr>
        <p:spPr bwMode="auto">
          <a:xfrm flipH="1">
            <a:off x="295816" y="746053"/>
            <a:ext cx="81000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5300" y="78318"/>
            <a:ext cx="498524" cy="790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21580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924033"/>
            <a:ext cx="7886700" cy="20774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D11813-DC1F-40B4-B6F5-5EDB3923D0D8}" type="datetimeFigureOut">
              <a:rPr lang="ru-RU" smtClean="0"/>
              <a:t>08.11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6313C0-CC2B-4C32-8FAB-13462FE7B3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5254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22128A-991B-44AC-98C4-E9935DF1DA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22128A-991B-44AC-98C4-E9935DF1DA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2ACBD0E8-DACD-4175-AD35-6D6BF9CA44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685601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B5DD42-94B7-4A3A-8F52-B25212A30A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0063" y="305102"/>
            <a:ext cx="8483878" cy="207749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cap="all" baseline="0"/>
            </a:lvl1pPr>
          </a:lstStyle>
          <a:p>
            <a:pPr lvl="0"/>
            <a:r>
              <a:rPr lang="ru-RU" dirty="0"/>
              <a:t>Введи наименование отрасли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69561B3-FAB2-4007-AA76-CB3C394BF358}"/>
              </a:ext>
            </a:extLst>
          </p:cNvPr>
          <p:cNvSpPr/>
          <p:nvPr userDrawn="1"/>
        </p:nvSpPr>
        <p:spPr>
          <a:xfrm>
            <a:off x="330061" y="1343380"/>
            <a:ext cx="2088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/>
          <a:p>
            <a:pPr marL="0" marR="0" lvl="0" indent="0" algn="ctr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A4D07B5-566E-4515-A5A8-F79198E694C5}"/>
              </a:ext>
            </a:extLst>
          </p:cNvPr>
          <p:cNvSpPr/>
          <p:nvPr userDrawn="1"/>
        </p:nvSpPr>
        <p:spPr>
          <a:xfrm>
            <a:off x="2462019" y="1343380"/>
            <a:ext cx="2088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/>
          <a:p>
            <a:pPr marL="0" marR="0" lvl="0" indent="0" algn="ctr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BD7A9EE-EB0D-41F0-BCC1-E88FB072D8BE}"/>
              </a:ext>
            </a:extLst>
          </p:cNvPr>
          <p:cNvSpPr/>
          <p:nvPr userDrawn="1"/>
        </p:nvSpPr>
        <p:spPr>
          <a:xfrm>
            <a:off x="4593979" y="1343380"/>
            <a:ext cx="2088000" cy="4388768"/>
          </a:xfrm>
          <a:prstGeom prst="rect">
            <a:avLst/>
          </a:prstGeom>
          <a:solidFill>
            <a:srgbClr val="DEDEE0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/>
          <a:p>
            <a:pPr marL="0" marR="0" lvl="0" indent="0" algn="ctr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lowchart: Off-page Connector 13">
            <a:extLst>
              <a:ext uri="{FF2B5EF4-FFF2-40B4-BE49-F238E27FC236}">
                <a16:creationId xmlns:a16="http://schemas.microsoft.com/office/drawing/2014/main" id="{28D66816-F49F-420A-80B8-A5B5C3BEE0E3}"/>
              </a:ext>
            </a:extLst>
          </p:cNvPr>
          <p:cNvSpPr/>
          <p:nvPr userDrawn="1"/>
        </p:nvSpPr>
        <p:spPr>
          <a:xfrm>
            <a:off x="2462020" y="1066349"/>
            <a:ext cx="2088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/>
          <a:p>
            <a:pPr marL="0" marR="0" lvl="0" indent="0" algn="ctr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аделы региона</a:t>
            </a:r>
            <a:endParaRPr kumimoji="0" lang="en-GB" sz="82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lowchart: Off-page Connector 14">
            <a:extLst>
              <a:ext uri="{FF2B5EF4-FFF2-40B4-BE49-F238E27FC236}">
                <a16:creationId xmlns:a16="http://schemas.microsoft.com/office/drawing/2014/main" id="{E07FA0D0-FDD0-4377-9DB0-F3CBAE70D70D}"/>
              </a:ext>
            </a:extLst>
          </p:cNvPr>
          <p:cNvSpPr/>
          <p:nvPr userDrawn="1"/>
        </p:nvSpPr>
        <p:spPr>
          <a:xfrm>
            <a:off x="4593979" y="1066227"/>
            <a:ext cx="2088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/>
          <a:p>
            <a:pPr marL="0" marR="0" lvl="0" indent="0" algn="ctr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ренды отрасли</a:t>
            </a:r>
            <a:endParaRPr kumimoji="0" lang="en-GB" sz="82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07C60D1-80B4-41DB-AA21-2CE360D541FC}"/>
              </a:ext>
            </a:extLst>
          </p:cNvPr>
          <p:cNvSpPr txBox="1"/>
          <p:nvPr userDrawn="1"/>
        </p:nvSpPr>
        <p:spPr>
          <a:xfrm>
            <a:off x="330061" y="1482235"/>
            <a:ext cx="2052000" cy="115416"/>
          </a:xfrm>
          <a:prstGeom prst="rect">
            <a:avLst/>
          </a:prstGeom>
          <a:solidFill>
            <a:schemeClr val="tx1"/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1. Ключевые показатели:</a:t>
            </a:r>
            <a:endParaRPr kumimoji="0" lang="en-GB" sz="7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D9BDAA5-0D55-4965-BE80-611BCDD35943}"/>
              </a:ext>
            </a:extLst>
          </p:cNvPr>
          <p:cNvSpPr txBox="1"/>
          <p:nvPr userDrawn="1"/>
        </p:nvSpPr>
        <p:spPr>
          <a:xfrm>
            <a:off x="330061" y="3698212"/>
            <a:ext cx="2052000" cy="115416"/>
          </a:xfrm>
          <a:prstGeom prst="rect">
            <a:avLst/>
          </a:prstGeom>
          <a:solidFill>
            <a:schemeClr val="tx1"/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.2. Связанные отрасли:</a:t>
            </a:r>
            <a:endParaRPr kumimoji="0" lang="en-GB" sz="7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730E44A-F6BB-417D-9524-7882D765A5A3}"/>
              </a:ext>
            </a:extLst>
          </p:cNvPr>
          <p:cNvSpPr txBox="1"/>
          <p:nvPr userDrawn="1"/>
        </p:nvSpPr>
        <p:spPr>
          <a:xfrm>
            <a:off x="2462019" y="1482235"/>
            <a:ext cx="2052000" cy="115416"/>
          </a:xfrm>
          <a:prstGeom prst="rect">
            <a:avLst/>
          </a:prstGeom>
          <a:solidFill>
            <a:schemeClr val="tx1"/>
          </a:solidFill>
        </p:spPr>
        <p:txBody>
          <a:bodyPr wrap="square" lIns="40491" tIns="0" rIns="0" bIns="0" rtlCol="0">
            <a:spAutoFit/>
          </a:bodyPr>
          <a:lstStyle/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1. Топ</a:t>
            </a:r>
            <a:r>
              <a:rPr kumimoji="0" lang="en-US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5 </a:t>
            </a:r>
            <a:r>
              <a:rPr kumimoji="0" lang="ru-RU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рг-ий </a:t>
            </a:r>
            <a:r>
              <a:rPr kumimoji="0" lang="en-GB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&gt;50 </a:t>
            </a:r>
            <a:r>
              <a:rPr kumimoji="0" lang="ru-RU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лн р.):</a:t>
            </a:r>
            <a:endParaRPr kumimoji="0" lang="en-GB" sz="7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129677F-9541-4B58-A994-7789B4A2D903}"/>
              </a:ext>
            </a:extLst>
          </p:cNvPr>
          <p:cNvSpPr txBox="1"/>
          <p:nvPr userDrawn="1"/>
        </p:nvSpPr>
        <p:spPr>
          <a:xfrm>
            <a:off x="2462019" y="2747477"/>
            <a:ext cx="2052000" cy="115416"/>
          </a:xfrm>
          <a:prstGeom prst="rect">
            <a:avLst/>
          </a:prstGeom>
          <a:solidFill>
            <a:schemeClr val="tx1"/>
          </a:solidFill>
        </p:spPr>
        <p:txBody>
          <a:bodyPr wrap="square" lIns="40491" tIns="0" rIns="0" bIns="0" rtlCol="0">
            <a:spAutoFit/>
          </a:bodyPr>
          <a:lstStyle/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2 Ключевые продукты:</a:t>
            </a:r>
            <a:endParaRPr kumimoji="0" lang="en-GB" sz="7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93A38C1-819E-442D-A981-F92095CDDB04}"/>
              </a:ext>
            </a:extLst>
          </p:cNvPr>
          <p:cNvSpPr/>
          <p:nvPr userDrawn="1"/>
        </p:nvSpPr>
        <p:spPr>
          <a:xfrm>
            <a:off x="6725938" y="1343380"/>
            <a:ext cx="2088000" cy="4388768"/>
          </a:xfrm>
          <a:prstGeom prst="rect">
            <a:avLst/>
          </a:prstGeom>
          <a:solidFill>
            <a:srgbClr val="DEDEE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/>
          <a:p>
            <a:pPr marL="0" marR="0" lvl="0" indent="0" algn="ctr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B43D717-5750-4A50-B80D-EB8ED5949210}"/>
              </a:ext>
            </a:extLst>
          </p:cNvPr>
          <p:cNvSpPr txBox="1"/>
          <p:nvPr userDrawn="1"/>
        </p:nvSpPr>
        <p:spPr>
          <a:xfrm>
            <a:off x="2462019" y="3698212"/>
            <a:ext cx="2052000" cy="115416"/>
          </a:xfrm>
          <a:prstGeom prst="rect">
            <a:avLst/>
          </a:prstGeom>
          <a:solidFill>
            <a:schemeClr val="tx1"/>
          </a:solidFill>
        </p:spPr>
        <p:txBody>
          <a:bodyPr wrap="square" lIns="40491" tIns="0" rIns="0" bIns="0" rtlCol="0">
            <a:spAutoFit/>
          </a:bodyPr>
          <a:lstStyle/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3. Ресурсы:</a:t>
            </a:r>
            <a:endParaRPr kumimoji="0" lang="en-GB" sz="7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lowchart: Off-page Connector 15">
            <a:extLst>
              <a:ext uri="{FF2B5EF4-FFF2-40B4-BE49-F238E27FC236}">
                <a16:creationId xmlns:a16="http://schemas.microsoft.com/office/drawing/2014/main" id="{2CE9C76C-303A-4ECD-AB51-5A64A2D19385}"/>
              </a:ext>
            </a:extLst>
          </p:cNvPr>
          <p:cNvSpPr/>
          <p:nvPr userDrawn="1"/>
        </p:nvSpPr>
        <p:spPr>
          <a:xfrm>
            <a:off x="6725938" y="1066227"/>
            <a:ext cx="2088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4967" tIns="34283" rIns="0" bIns="34283" rtlCol="0" anchor="ctr"/>
          <a:lstStyle/>
          <a:p>
            <a:pPr marL="0" marR="0" lvl="0" indent="0" algn="ctr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озможности локализации</a:t>
            </a:r>
            <a:endParaRPr kumimoji="0" lang="en-GB" sz="82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1F8E3F3-6914-4270-A0AD-5B44F5087B00}"/>
              </a:ext>
            </a:extLst>
          </p:cNvPr>
          <p:cNvSpPr txBox="1"/>
          <p:nvPr userDrawn="1"/>
        </p:nvSpPr>
        <p:spPr>
          <a:xfrm>
            <a:off x="4593979" y="1482235"/>
            <a:ext cx="2052000" cy="115416"/>
          </a:xfrm>
          <a:prstGeom prst="rect">
            <a:avLst/>
          </a:prstGeom>
          <a:solidFill>
            <a:schemeClr val="tx1"/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1. Мировые тренды:</a:t>
            </a:r>
            <a:endParaRPr kumimoji="0" lang="en-GB" sz="7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A82D6EF-2EED-4E6B-9790-BCCC79355A2C}"/>
              </a:ext>
            </a:extLst>
          </p:cNvPr>
          <p:cNvSpPr txBox="1"/>
          <p:nvPr userDrawn="1"/>
        </p:nvSpPr>
        <p:spPr>
          <a:xfrm>
            <a:off x="4610960" y="1690063"/>
            <a:ext cx="1980000" cy="11541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овые продукты:</a:t>
            </a:r>
            <a:endParaRPr kumimoji="0" lang="en-GB" sz="7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0FD6F12-9AEB-4391-8B05-E135DF74E141}"/>
              </a:ext>
            </a:extLst>
          </p:cNvPr>
          <p:cNvSpPr txBox="1"/>
          <p:nvPr userDrawn="1"/>
        </p:nvSpPr>
        <p:spPr>
          <a:xfrm>
            <a:off x="4593979" y="3698212"/>
            <a:ext cx="2052000" cy="115416"/>
          </a:xfrm>
          <a:prstGeom prst="rect">
            <a:avLst/>
          </a:prstGeom>
          <a:solidFill>
            <a:schemeClr val="tx1"/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.2. Российские тренды:</a:t>
            </a:r>
            <a:endParaRPr kumimoji="0" lang="en-GB" sz="7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C0BB5A7-D2F0-4F40-9674-C0964C6B2F38}"/>
              </a:ext>
            </a:extLst>
          </p:cNvPr>
          <p:cNvSpPr txBox="1"/>
          <p:nvPr userDrawn="1"/>
        </p:nvSpPr>
        <p:spPr>
          <a:xfrm>
            <a:off x="340221" y="1690063"/>
            <a:ext cx="1980000" cy="11541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изводство</a:t>
            </a:r>
            <a:r>
              <a:rPr kumimoji="0" lang="en-US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17)</a:t>
            </a:r>
            <a:r>
              <a:rPr kumimoji="0" lang="ru-RU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млрд руб.</a:t>
            </a:r>
            <a:endParaRPr kumimoji="0" lang="en-GB" sz="7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E9A42B93-B43E-4E6C-9BCB-19E1E4AC32F9}"/>
              </a:ext>
            </a:extLst>
          </p:cNvPr>
          <p:cNvSpPr txBox="1"/>
          <p:nvPr userDrawn="1"/>
        </p:nvSpPr>
        <p:spPr>
          <a:xfrm>
            <a:off x="340221" y="2747478"/>
            <a:ext cx="1980000" cy="11541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бочие места</a:t>
            </a:r>
            <a:r>
              <a:rPr kumimoji="0" lang="en-US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2017)</a:t>
            </a:r>
            <a:r>
              <a:rPr kumimoji="0" lang="ru-RU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тыс. ед.</a:t>
            </a:r>
            <a:endParaRPr kumimoji="0" lang="en-GB" sz="7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1BFC6ED-6182-4E41-A5B6-EDDFF2D60AFD}"/>
              </a:ext>
            </a:extLst>
          </p:cNvPr>
          <p:cNvSpPr txBox="1"/>
          <p:nvPr userDrawn="1"/>
        </p:nvSpPr>
        <p:spPr>
          <a:xfrm>
            <a:off x="2479003" y="1690063"/>
            <a:ext cx="1980000" cy="11541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 lvl="0">
              <a:defRPr sz="1000" b="0" i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ыручка (2017), млрд руб.</a:t>
            </a:r>
            <a:endParaRPr kumimoji="0" lang="en-GB" sz="7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5D1950D-F894-4DB3-8841-B2BF9C42394E}"/>
              </a:ext>
            </a:extLst>
          </p:cNvPr>
          <p:cNvSpPr txBox="1"/>
          <p:nvPr userDrawn="1"/>
        </p:nvSpPr>
        <p:spPr>
          <a:xfrm>
            <a:off x="2479003" y="3920567"/>
            <a:ext cx="1980000" cy="11541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иродные ресурсы:</a:t>
            </a:r>
            <a:endParaRPr kumimoji="0" lang="en-GB" sz="7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D4C613A2-75F8-406E-92EC-012D7FA1560C}"/>
              </a:ext>
            </a:extLst>
          </p:cNvPr>
          <p:cNvSpPr txBox="1"/>
          <p:nvPr userDrawn="1"/>
        </p:nvSpPr>
        <p:spPr>
          <a:xfrm>
            <a:off x="2479003" y="4808705"/>
            <a:ext cx="1980000" cy="11541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Человеческий потенциал:</a:t>
            </a:r>
            <a:endParaRPr kumimoji="0" lang="en-GB" sz="7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71EE9890-4137-4E49-A9D1-85B3FFA0F215}"/>
              </a:ext>
            </a:extLst>
          </p:cNvPr>
          <p:cNvSpPr txBox="1"/>
          <p:nvPr userDrawn="1"/>
        </p:nvSpPr>
        <p:spPr>
          <a:xfrm>
            <a:off x="4610960" y="2741225"/>
            <a:ext cx="1980000" cy="11541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стущие рынки:</a:t>
            </a:r>
            <a:endParaRPr kumimoji="0" lang="en-GB" sz="7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F330712-B427-4B6B-981D-7018632ED74E}"/>
              </a:ext>
            </a:extLst>
          </p:cNvPr>
          <p:cNvSpPr txBox="1"/>
          <p:nvPr userDrawn="1"/>
        </p:nvSpPr>
        <p:spPr>
          <a:xfrm>
            <a:off x="4610963" y="3920567"/>
            <a:ext cx="1980000" cy="11541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осполитика:</a:t>
            </a:r>
            <a:endParaRPr kumimoji="0" lang="en-GB" sz="7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0CF2BA5-FBF5-449A-86A7-041D489918C1}"/>
              </a:ext>
            </a:extLst>
          </p:cNvPr>
          <p:cNvSpPr txBox="1"/>
          <p:nvPr userDrawn="1"/>
        </p:nvSpPr>
        <p:spPr>
          <a:xfrm>
            <a:off x="4610963" y="4808705"/>
            <a:ext cx="1980000" cy="11541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мпортозамещение:</a:t>
            </a:r>
            <a:endParaRPr kumimoji="0" lang="en-GB" sz="7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Text Placeholder 37">
            <a:extLst>
              <a:ext uri="{FF2B5EF4-FFF2-40B4-BE49-F238E27FC236}">
                <a16:creationId xmlns:a16="http://schemas.microsoft.com/office/drawing/2014/main" id="{337C48FB-960A-4EA6-98B7-BF454790CC63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462019" y="2960147"/>
            <a:ext cx="2056342" cy="688535"/>
          </a:xfrm>
          <a:prstGeom prst="rect">
            <a:avLst/>
          </a:prstGeom>
        </p:spPr>
        <p:txBody>
          <a:bodyPr lIns="53988" tIns="0" rIns="0" bIns="0"/>
          <a:lstStyle>
            <a:lvl1pPr>
              <a:lnSpc>
                <a:spcPct val="100000"/>
              </a:lnSpc>
              <a:defRPr lang="en-GB" sz="750" dirty="0"/>
            </a:lvl1pPr>
          </a:lstStyle>
          <a:p>
            <a:pPr marL="0" lvl="0" indent="132122">
              <a:spcBef>
                <a:spcPts val="0"/>
              </a:spcBef>
            </a:pPr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49" name="Text Placeholder 37">
            <a:extLst>
              <a:ext uri="{FF2B5EF4-FFF2-40B4-BE49-F238E27FC236}">
                <a16:creationId xmlns:a16="http://schemas.microsoft.com/office/drawing/2014/main" id="{F356BF25-DB40-4FD5-9B76-B6878E2BD603}"/>
              </a:ext>
            </a:extLst>
          </p:cNvPr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2477850" y="4099553"/>
            <a:ext cx="2056342" cy="688535"/>
          </a:xfrm>
          <a:prstGeom prst="rect">
            <a:avLst/>
          </a:prstGeom>
        </p:spPr>
        <p:txBody>
          <a:bodyPr lIns="53988" tIns="0" rIns="0" bIns="0"/>
          <a:lstStyle>
            <a:lvl1pPr>
              <a:lnSpc>
                <a:spcPct val="100000"/>
              </a:lnSpc>
              <a:defRPr lang="en-GB" sz="750" dirty="0"/>
            </a:lvl1pPr>
          </a:lstStyle>
          <a:p>
            <a:pPr marL="0" lvl="0" indent="132122">
              <a:spcBef>
                <a:spcPts val="0"/>
              </a:spcBef>
            </a:pPr>
            <a:r>
              <a:rPr lang="ru-RU" dirty="0"/>
              <a:t>Введи ресурсы	</a:t>
            </a:r>
            <a:endParaRPr lang="en-GB" dirty="0"/>
          </a:p>
        </p:txBody>
      </p:sp>
      <p:sp>
        <p:nvSpPr>
          <p:cNvPr id="50" name="Text Placeholder 37">
            <a:extLst>
              <a:ext uri="{FF2B5EF4-FFF2-40B4-BE49-F238E27FC236}">
                <a16:creationId xmlns:a16="http://schemas.microsoft.com/office/drawing/2014/main" id="{E3096346-887A-4C5E-8691-99CA8DAB6D6B}"/>
              </a:ext>
            </a:extLst>
          </p:cNvPr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04143" y="4099553"/>
            <a:ext cx="2046185" cy="688535"/>
          </a:xfrm>
          <a:prstGeom prst="rect">
            <a:avLst/>
          </a:prstGeom>
        </p:spPr>
        <p:txBody>
          <a:bodyPr lIns="53988" tIns="0" rIns="0" bIns="0"/>
          <a:lstStyle>
            <a:lvl1pPr marL="0" indent="270194">
              <a:lnSpc>
                <a:spcPct val="100000"/>
              </a:lnSpc>
              <a:defRPr lang="en-GB" sz="750" dirty="0"/>
            </a:lvl1pPr>
          </a:lstStyle>
          <a:p>
            <a:pPr marL="0" lvl="0" indent="132122">
              <a:spcBef>
                <a:spcPts val="0"/>
              </a:spcBef>
            </a:pPr>
            <a:r>
              <a:rPr lang="ru-RU" dirty="0"/>
              <a:t>Введи информацию	</a:t>
            </a:r>
            <a:endParaRPr lang="en-GB" dirty="0"/>
          </a:p>
        </p:txBody>
      </p:sp>
      <p:sp>
        <p:nvSpPr>
          <p:cNvPr id="51" name="Text Placeholder 37">
            <a:extLst>
              <a:ext uri="{FF2B5EF4-FFF2-40B4-BE49-F238E27FC236}">
                <a16:creationId xmlns:a16="http://schemas.microsoft.com/office/drawing/2014/main" id="{7534DC53-34EB-430C-8959-3E43D84B78BB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477847" y="4983236"/>
            <a:ext cx="2056342" cy="688535"/>
          </a:xfrm>
          <a:prstGeom prst="rect">
            <a:avLst/>
          </a:prstGeom>
        </p:spPr>
        <p:txBody>
          <a:bodyPr lIns="53988" tIns="0" rIns="0" bIns="0"/>
          <a:lstStyle>
            <a:lvl1pPr>
              <a:lnSpc>
                <a:spcPct val="100000"/>
              </a:lnSpc>
              <a:defRPr lang="en-GB" sz="750" dirty="0"/>
            </a:lvl1pPr>
          </a:lstStyle>
          <a:p>
            <a:pPr marL="0" lvl="0" indent="132122">
              <a:spcBef>
                <a:spcPts val="0"/>
              </a:spcBef>
            </a:pPr>
            <a:r>
              <a:rPr lang="ru-RU" dirty="0"/>
              <a:t>Введи потенциал	</a:t>
            </a:r>
            <a:endParaRPr lang="en-GB" dirty="0"/>
          </a:p>
        </p:txBody>
      </p:sp>
      <p:sp>
        <p:nvSpPr>
          <p:cNvPr id="52" name="Text Placeholder 37">
            <a:extLst>
              <a:ext uri="{FF2B5EF4-FFF2-40B4-BE49-F238E27FC236}">
                <a16:creationId xmlns:a16="http://schemas.microsoft.com/office/drawing/2014/main" id="{7711F6CE-2240-452C-9703-9A60C82C00C3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593978" y="4983236"/>
            <a:ext cx="2056342" cy="688535"/>
          </a:xfrm>
          <a:prstGeom prst="rect">
            <a:avLst/>
          </a:prstGeom>
        </p:spPr>
        <p:txBody>
          <a:bodyPr lIns="53988" tIns="0" rIns="0" bIns="0"/>
          <a:lstStyle>
            <a:lvl1pPr>
              <a:lnSpc>
                <a:spcPct val="100000"/>
              </a:lnSpc>
              <a:defRPr lang="en-GB" sz="750" dirty="0"/>
            </a:lvl1pPr>
          </a:lstStyle>
          <a:p>
            <a:pPr marL="0" lvl="0" indent="132122">
              <a:spcBef>
                <a:spcPts val="0"/>
              </a:spcBef>
            </a:pPr>
            <a:r>
              <a:rPr lang="ru-RU" dirty="0"/>
              <a:t>Введи информацию об импортозамещении	</a:t>
            </a:r>
            <a:endParaRPr lang="en-GB" dirty="0"/>
          </a:p>
        </p:txBody>
      </p:sp>
      <p:sp>
        <p:nvSpPr>
          <p:cNvPr id="53" name="Text Placeholder 37">
            <a:extLst>
              <a:ext uri="{FF2B5EF4-FFF2-40B4-BE49-F238E27FC236}">
                <a16:creationId xmlns:a16="http://schemas.microsoft.com/office/drawing/2014/main" id="{3BC71E62-3DAE-4B81-84FC-43023093EA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93980" y="1883438"/>
            <a:ext cx="2056342" cy="789333"/>
          </a:xfrm>
          <a:prstGeom prst="rect">
            <a:avLst/>
          </a:prstGeom>
        </p:spPr>
        <p:txBody>
          <a:bodyPr lIns="53988" tIns="0" rIns="0" bIns="0"/>
          <a:lstStyle>
            <a:lvl1pPr marL="0" indent="132122">
              <a:lnSpc>
                <a:spcPct val="100000"/>
              </a:lnSpc>
              <a:spcBef>
                <a:spcPts val="0"/>
              </a:spcBef>
              <a:defRPr sz="750"/>
            </a:lvl1pPr>
            <a:lvl2pPr>
              <a:defRPr sz="825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54" name="Text Placeholder 37">
            <a:extLst>
              <a:ext uri="{FF2B5EF4-FFF2-40B4-BE49-F238E27FC236}">
                <a16:creationId xmlns:a16="http://schemas.microsoft.com/office/drawing/2014/main" id="{CEF588BD-98EE-450E-B8AF-88A10B3CFF8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93978" y="2960147"/>
            <a:ext cx="2056342" cy="688535"/>
          </a:xfrm>
          <a:prstGeom prst="rect">
            <a:avLst/>
          </a:prstGeom>
        </p:spPr>
        <p:txBody>
          <a:bodyPr lIns="53988" tIns="0" rIns="0" bIns="0"/>
          <a:lstStyle>
            <a:lvl1pPr>
              <a:lnSpc>
                <a:spcPct val="100000"/>
              </a:lnSpc>
              <a:defRPr lang="en-GB" sz="750" dirty="0"/>
            </a:lvl1pPr>
          </a:lstStyle>
          <a:p>
            <a:pPr marL="0" lvl="0" indent="132122">
              <a:spcBef>
                <a:spcPts val="0"/>
              </a:spcBef>
            </a:pPr>
            <a:r>
              <a:rPr lang="ru-RU" dirty="0"/>
              <a:t>Введи рынки 	</a:t>
            </a:r>
            <a:endParaRPr lang="en-GB" dirty="0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E7FEB27-E06D-47F5-9333-9F056D8F0E48}"/>
              </a:ext>
            </a:extLst>
          </p:cNvPr>
          <p:cNvSpPr txBox="1"/>
          <p:nvPr userDrawn="1"/>
        </p:nvSpPr>
        <p:spPr>
          <a:xfrm>
            <a:off x="340221" y="3920567"/>
            <a:ext cx="1980000" cy="11541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трасли-поставщики:</a:t>
            </a:r>
            <a:endParaRPr kumimoji="0" lang="en-GB" sz="7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3825005-436C-4545-B4D0-8BC4E59424E8}"/>
              </a:ext>
            </a:extLst>
          </p:cNvPr>
          <p:cNvSpPr txBox="1"/>
          <p:nvPr userDrawn="1"/>
        </p:nvSpPr>
        <p:spPr>
          <a:xfrm>
            <a:off x="340221" y="4808705"/>
            <a:ext cx="1980000" cy="11541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>
              <a:defRPr sz="1100" b="0" i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трасли-потребители:</a:t>
            </a:r>
            <a:endParaRPr kumimoji="0" lang="en-GB" sz="75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 Placeholder 37">
            <a:extLst>
              <a:ext uri="{FF2B5EF4-FFF2-40B4-BE49-F238E27FC236}">
                <a16:creationId xmlns:a16="http://schemas.microsoft.com/office/drawing/2014/main" id="{EA198243-FF22-48B4-90CC-E95AD045CD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40221" y="4099553"/>
            <a:ext cx="2056342" cy="688535"/>
          </a:xfrm>
          <a:prstGeom prst="rect">
            <a:avLst/>
          </a:prstGeom>
        </p:spPr>
        <p:txBody>
          <a:bodyPr lIns="53988" tIns="0" rIns="0" bIns="0"/>
          <a:lstStyle>
            <a:lvl1pPr>
              <a:lnSpc>
                <a:spcPct val="100000"/>
              </a:lnSpc>
              <a:defRPr lang="en-GB" sz="750" dirty="0"/>
            </a:lvl1pPr>
          </a:lstStyle>
          <a:p>
            <a:pPr marL="0" lvl="0" indent="132122">
              <a:spcBef>
                <a:spcPts val="0"/>
              </a:spcBef>
            </a:pPr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58" name="Text Placeholder 37">
            <a:extLst>
              <a:ext uri="{FF2B5EF4-FFF2-40B4-BE49-F238E27FC236}">
                <a16:creationId xmlns:a16="http://schemas.microsoft.com/office/drawing/2014/main" id="{170035F1-91FC-458E-B029-A750EE25E1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0221" y="4983236"/>
            <a:ext cx="2056342" cy="688535"/>
          </a:xfrm>
          <a:prstGeom prst="rect">
            <a:avLst/>
          </a:prstGeom>
        </p:spPr>
        <p:txBody>
          <a:bodyPr lIns="53988" tIns="0" rIns="0" bIns="0"/>
          <a:lstStyle>
            <a:lvl1pPr>
              <a:lnSpc>
                <a:spcPct val="100000"/>
              </a:lnSpc>
              <a:defRPr lang="en-GB" sz="750" dirty="0"/>
            </a:lvl1pPr>
          </a:lstStyle>
          <a:p>
            <a:pPr marL="0" lvl="0" indent="132122">
              <a:spcBef>
                <a:spcPts val="0"/>
              </a:spcBef>
            </a:pPr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1887BA7B-DADA-4596-BECC-AF78E98BF3BE}"/>
              </a:ext>
            </a:extLst>
          </p:cNvPr>
          <p:cNvSpPr txBox="1"/>
          <p:nvPr userDrawn="1"/>
        </p:nvSpPr>
        <p:spPr>
          <a:xfrm>
            <a:off x="6725938" y="1482235"/>
            <a:ext cx="2052000" cy="115416"/>
          </a:xfrm>
          <a:prstGeom prst="rect">
            <a:avLst/>
          </a:prstGeom>
          <a:solidFill>
            <a:schemeClr val="tx1"/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.1. Поставщики:</a:t>
            </a:r>
            <a:endParaRPr kumimoji="0" lang="en-GB" sz="7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5F63E86-66DE-4D60-B813-3603572FE3D1}"/>
              </a:ext>
            </a:extLst>
          </p:cNvPr>
          <p:cNvSpPr txBox="1"/>
          <p:nvPr userDrawn="1"/>
        </p:nvSpPr>
        <p:spPr>
          <a:xfrm>
            <a:off x="6725938" y="2741225"/>
            <a:ext cx="2052000" cy="115416"/>
          </a:xfrm>
          <a:prstGeom prst="rect">
            <a:avLst/>
          </a:prstGeom>
          <a:solidFill>
            <a:schemeClr val="tx1"/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.2. Потребители:</a:t>
            </a:r>
            <a:endParaRPr kumimoji="0" lang="en-GB" sz="7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662233C-22F4-4829-B590-005DCCDC3D73}"/>
              </a:ext>
            </a:extLst>
          </p:cNvPr>
          <p:cNvSpPr txBox="1"/>
          <p:nvPr userDrawn="1"/>
        </p:nvSpPr>
        <p:spPr>
          <a:xfrm>
            <a:off x="6725938" y="3689733"/>
            <a:ext cx="2052000" cy="115416"/>
          </a:xfrm>
          <a:prstGeom prst="rect">
            <a:avLst/>
          </a:prstGeom>
          <a:solidFill>
            <a:schemeClr val="tx1"/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.3. Ремонт/монтаж оборуд-ия:</a:t>
            </a:r>
            <a:endParaRPr kumimoji="0" lang="en-GB" sz="7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F5AA4475-76ED-4B98-A801-B2D8B68A51C1}"/>
              </a:ext>
            </a:extLst>
          </p:cNvPr>
          <p:cNvSpPr txBox="1"/>
          <p:nvPr userDrawn="1"/>
        </p:nvSpPr>
        <p:spPr>
          <a:xfrm>
            <a:off x="6725938" y="4808705"/>
            <a:ext cx="2052000" cy="115416"/>
          </a:xfrm>
          <a:prstGeom prst="rect">
            <a:avLst/>
          </a:prstGeom>
          <a:solidFill>
            <a:schemeClr val="tx1"/>
          </a:solidFill>
        </p:spPr>
        <p:txBody>
          <a:bodyPr wrap="square" lIns="40491" tIns="0" rIns="0" bIns="0" rtlCol="0">
            <a:spAutoFit/>
          </a:bodyPr>
          <a:lstStyle>
            <a:defPPr>
              <a:defRPr lang="en-US"/>
            </a:defPPr>
            <a:lvl1pPr>
              <a:defRPr sz="1100" b="1"/>
            </a:lvl1pPr>
          </a:lstStyle>
          <a:p>
            <a:pPr marL="0" marR="0" lvl="0" indent="0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.4. Новые продукты:</a:t>
            </a:r>
            <a:endParaRPr kumimoji="0" lang="en-GB" sz="7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3" name="Text Placeholder 37">
            <a:extLst>
              <a:ext uri="{FF2B5EF4-FFF2-40B4-BE49-F238E27FC236}">
                <a16:creationId xmlns:a16="http://schemas.microsoft.com/office/drawing/2014/main" id="{75FF713F-4963-423C-A306-108E1D1F0B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25940" y="1690077"/>
            <a:ext cx="2056342" cy="982695"/>
          </a:xfrm>
          <a:prstGeom prst="rect">
            <a:avLst/>
          </a:prstGeom>
          <a:noFill/>
        </p:spPr>
        <p:txBody>
          <a:bodyPr lIns="53988" tIns="0" rIns="0" bIns="0"/>
          <a:lstStyle>
            <a:lvl1pPr marL="0" indent="132122">
              <a:lnSpc>
                <a:spcPct val="100000"/>
              </a:lnSpc>
              <a:spcBef>
                <a:spcPts val="0"/>
              </a:spcBef>
              <a:defRPr sz="750">
                <a:solidFill>
                  <a:schemeClr val="tx1"/>
                </a:solidFill>
              </a:defRPr>
            </a:lvl1pPr>
            <a:lvl2pPr>
              <a:defRPr sz="825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 dirty="0"/>
              <a:t>Введи поставщиков	</a:t>
            </a:r>
            <a:endParaRPr lang="en-GB" dirty="0"/>
          </a:p>
        </p:txBody>
      </p:sp>
      <p:sp>
        <p:nvSpPr>
          <p:cNvPr id="64" name="Text Placeholder 37">
            <a:extLst>
              <a:ext uri="{FF2B5EF4-FFF2-40B4-BE49-F238E27FC236}">
                <a16:creationId xmlns:a16="http://schemas.microsoft.com/office/drawing/2014/main" id="{3F2FADCB-0E55-4866-8AE7-60CD17BD56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25940" y="2960133"/>
            <a:ext cx="2056342" cy="708970"/>
          </a:xfrm>
          <a:prstGeom prst="rect">
            <a:avLst/>
          </a:prstGeom>
          <a:noFill/>
        </p:spPr>
        <p:txBody>
          <a:bodyPr lIns="53988" tIns="0" rIns="0" bIns="0"/>
          <a:lstStyle>
            <a:lvl1pPr marL="0" indent="132122">
              <a:lnSpc>
                <a:spcPct val="100000"/>
              </a:lnSpc>
              <a:spcBef>
                <a:spcPts val="0"/>
              </a:spcBef>
              <a:defRPr sz="750">
                <a:solidFill>
                  <a:schemeClr val="tx1"/>
                </a:solidFill>
              </a:defRPr>
            </a:lvl1pPr>
            <a:lvl2pPr>
              <a:defRPr sz="825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 dirty="0"/>
              <a:t>Введи потребителей	</a:t>
            </a:r>
            <a:endParaRPr lang="en-GB" dirty="0"/>
          </a:p>
        </p:txBody>
      </p:sp>
      <p:sp>
        <p:nvSpPr>
          <p:cNvPr id="65" name="Text Placeholder 37">
            <a:extLst>
              <a:ext uri="{FF2B5EF4-FFF2-40B4-BE49-F238E27FC236}">
                <a16:creationId xmlns:a16="http://schemas.microsoft.com/office/drawing/2014/main" id="{E8E22083-FB85-4EEE-926E-E859B6B5BC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25940" y="3920567"/>
            <a:ext cx="2056342" cy="867508"/>
          </a:xfrm>
          <a:prstGeom prst="rect">
            <a:avLst/>
          </a:prstGeom>
          <a:noFill/>
        </p:spPr>
        <p:txBody>
          <a:bodyPr lIns="53988" tIns="0" rIns="0" bIns="0"/>
          <a:lstStyle>
            <a:lvl1pPr marL="0" indent="132122">
              <a:lnSpc>
                <a:spcPct val="100000"/>
              </a:lnSpc>
              <a:spcBef>
                <a:spcPts val="0"/>
              </a:spcBef>
              <a:defRPr sz="750">
                <a:solidFill>
                  <a:schemeClr val="tx1"/>
                </a:solidFill>
              </a:defRPr>
            </a:lvl1pPr>
            <a:lvl2pPr>
              <a:defRPr sz="825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 dirty="0"/>
              <a:t>Введи партнеров	</a:t>
            </a:r>
            <a:endParaRPr lang="en-GB" dirty="0"/>
          </a:p>
        </p:txBody>
      </p:sp>
      <p:sp>
        <p:nvSpPr>
          <p:cNvPr id="66" name="Text Placeholder 37">
            <a:extLst>
              <a:ext uri="{FF2B5EF4-FFF2-40B4-BE49-F238E27FC236}">
                <a16:creationId xmlns:a16="http://schemas.microsoft.com/office/drawing/2014/main" id="{4DD48411-1C6F-4008-919C-1FD4D4E6BA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725940" y="4983236"/>
            <a:ext cx="2056342" cy="688535"/>
          </a:xfrm>
          <a:prstGeom prst="rect">
            <a:avLst/>
          </a:prstGeom>
          <a:noFill/>
        </p:spPr>
        <p:txBody>
          <a:bodyPr lIns="53988" tIns="0" rIns="0" bIns="0"/>
          <a:lstStyle>
            <a:lvl1pPr marL="0" indent="132122">
              <a:lnSpc>
                <a:spcPct val="100000"/>
              </a:lnSpc>
              <a:spcBef>
                <a:spcPts val="0"/>
              </a:spcBef>
              <a:defRPr sz="750">
                <a:solidFill>
                  <a:schemeClr val="tx1"/>
                </a:solidFill>
              </a:defRPr>
            </a:lvl1pPr>
            <a:lvl2pPr>
              <a:defRPr sz="825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 dirty="0"/>
              <a:t>Введи продукты	</a:t>
            </a:r>
            <a:endParaRPr lang="en-GB" dirty="0"/>
          </a:p>
        </p:txBody>
      </p:sp>
      <p:sp>
        <p:nvSpPr>
          <p:cNvPr id="67" name="Isosceles Triangle 66">
            <a:extLst>
              <a:ext uri="{FF2B5EF4-FFF2-40B4-BE49-F238E27FC236}">
                <a16:creationId xmlns:a16="http://schemas.microsoft.com/office/drawing/2014/main" id="{2F6412C7-FD96-4EFD-822B-771200689979}"/>
              </a:ext>
            </a:extLst>
          </p:cNvPr>
          <p:cNvSpPr/>
          <p:nvPr userDrawn="1"/>
        </p:nvSpPr>
        <p:spPr>
          <a:xfrm flipV="1">
            <a:off x="340221" y="5763290"/>
            <a:ext cx="2077840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/>
          <a:p>
            <a:pPr marL="0" marR="0" lvl="0" indent="0" algn="ctr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8" name="Isosceles Triangle 67">
            <a:extLst>
              <a:ext uri="{FF2B5EF4-FFF2-40B4-BE49-F238E27FC236}">
                <a16:creationId xmlns:a16="http://schemas.microsoft.com/office/drawing/2014/main" id="{B5278AAB-3F83-4C84-9057-FA1E13AFC460}"/>
              </a:ext>
            </a:extLst>
          </p:cNvPr>
          <p:cNvSpPr/>
          <p:nvPr userDrawn="1"/>
        </p:nvSpPr>
        <p:spPr>
          <a:xfrm flipV="1">
            <a:off x="2472180" y="5763290"/>
            <a:ext cx="2077840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/>
          <a:p>
            <a:pPr marL="0" marR="0" lvl="0" indent="0" algn="ctr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Isosceles Triangle 68">
            <a:extLst>
              <a:ext uri="{FF2B5EF4-FFF2-40B4-BE49-F238E27FC236}">
                <a16:creationId xmlns:a16="http://schemas.microsoft.com/office/drawing/2014/main" id="{A8F6E8FC-73F1-4F6A-B56B-78899C24163F}"/>
              </a:ext>
            </a:extLst>
          </p:cNvPr>
          <p:cNvSpPr/>
          <p:nvPr userDrawn="1"/>
        </p:nvSpPr>
        <p:spPr>
          <a:xfrm flipV="1">
            <a:off x="4604139" y="5763290"/>
            <a:ext cx="2077840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/>
          <a:p>
            <a:pPr marL="0" marR="0" lvl="0" indent="0" algn="ctr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0" name="Isosceles Triangle 69">
            <a:extLst>
              <a:ext uri="{FF2B5EF4-FFF2-40B4-BE49-F238E27FC236}">
                <a16:creationId xmlns:a16="http://schemas.microsoft.com/office/drawing/2014/main" id="{FE4994C9-346B-42EC-B400-578C5F625FA2}"/>
              </a:ext>
            </a:extLst>
          </p:cNvPr>
          <p:cNvSpPr/>
          <p:nvPr userDrawn="1"/>
        </p:nvSpPr>
        <p:spPr>
          <a:xfrm flipV="1">
            <a:off x="6736098" y="5763290"/>
            <a:ext cx="2077840" cy="103629"/>
          </a:xfrm>
          <a:prstGeom prst="triangle">
            <a:avLst/>
          </a:prstGeom>
          <a:solidFill>
            <a:schemeClr val="bg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/>
          <a:p>
            <a:pPr marL="0" marR="0" lvl="0" indent="0" algn="ctr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1" name="Text Placeholder 37">
            <a:extLst>
              <a:ext uri="{FF2B5EF4-FFF2-40B4-BE49-F238E27FC236}">
                <a16:creationId xmlns:a16="http://schemas.microsoft.com/office/drawing/2014/main" id="{6C3DB72E-3F2A-4E6B-9421-87F19CD5DA3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4400" y="5909777"/>
            <a:ext cx="2087999" cy="688535"/>
          </a:xfrm>
          <a:prstGeom prst="rect">
            <a:avLst/>
          </a:prstGeom>
          <a:solidFill>
            <a:schemeClr val="accent6"/>
          </a:solidFill>
        </p:spPr>
        <p:txBody>
          <a:bodyPr lIns="53988" tIns="0" rIns="0" bIns="0"/>
          <a:lstStyle>
            <a:lvl1pPr marL="0" indent="132122">
              <a:lnSpc>
                <a:spcPct val="100000"/>
              </a:lnSpc>
              <a:spcBef>
                <a:spcPts val="0"/>
              </a:spcBef>
              <a:defRPr sz="750">
                <a:solidFill>
                  <a:schemeClr val="bg1"/>
                </a:solidFill>
              </a:defRPr>
            </a:lvl1pPr>
            <a:lvl2pPr>
              <a:defRPr sz="825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 dirty="0"/>
              <a:t>Введи выводы по отрасли	</a:t>
            </a:r>
            <a:endParaRPr lang="en-GB" dirty="0"/>
          </a:p>
        </p:txBody>
      </p:sp>
      <p:sp>
        <p:nvSpPr>
          <p:cNvPr id="72" name="Text Placeholder 37">
            <a:extLst>
              <a:ext uri="{FF2B5EF4-FFF2-40B4-BE49-F238E27FC236}">
                <a16:creationId xmlns:a16="http://schemas.microsoft.com/office/drawing/2014/main" id="{D6356FED-5065-4621-9A4E-58AB7B63499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58249" y="5909777"/>
            <a:ext cx="2087999" cy="688535"/>
          </a:xfrm>
          <a:prstGeom prst="rect">
            <a:avLst/>
          </a:prstGeom>
          <a:solidFill>
            <a:schemeClr val="accent6"/>
          </a:solidFill>
        </p:spPr>
        <p:txBody>
          <a:bodyPr lIns="53988" tIns="0" rIns="0" bIns="0"/>
          <a:lstStyle>
            <a:lvl1pPr marL="0" indent="132122">
              <a:lnSpc>
                <a:spcPct val="100000"/>
              </a:lnSpc>
              <a:spcBef>
                <a:spcPts val="0"/>
              </a:spcBef>
              <a:defRPr sz="750">
                <a:solidFill>
                  <a:schemeClr val="bg1"/>
                </a:solidFill>
              </a:defRPr>
            </a:lvl1pPr>
            <a:lvl2pPr>
              <a:defRPr sz="825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 dirty="0"/>
              <a:t>Введи выводы по заделам	</a:t>
            </a:r>
            <a:endParaRPr lang="en-GB" dirty="0"/>
          </a:p>
        </p:txBody>
      </p:sp>
      <p:sp>
        <p:nvSpPr>
          <p:cNvPr id="73" name="Text Placeholder 37">
            <a:extLst>
              <a:ext uri="{FF2B5EF4-FFF2-40B4-BE49-F238E27FC236}">
                <a16:creationId xmlns:a16="http://schemas.microsoft.com/office/drawing/2014/main" id="{6233C855-3984-4309-8655-8BACF43F353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592094" y="5909777"/>
            <a:ext cx="2087999" cy="688535"/>
          </a:xfrm>
          <a:prstGeom prst="rect">
            <a:avLst/>
          </a:prstGeom>
          <a:solidFill>
            <a:schemeClr val="accent6"/>
          </a:solidFill>
        </p:spPr>
        <p:txBody>
          <a:bodyPr lIns="53988" tIns="0" rIns="0" bIns="0"/>
          <a:lstStyle>
            <a:lvl1pPr marL="0" indent="132122">
              <a:lnSpc>
                <a:spcPct val="100000"/>
              </a:lnSpc>
              <a:spcBef>
                <a:spcPts val="0"/>
              </a:spcBef>
              <a:defRPr sz="750">
                <a:solidFill>
                  <a:schemeClr val="bg1"/>
                </a:solidFill>
              </a:defRPr>
            </a:lvl1pPr>
            <a:lvl2pPr>
              <a:defRPr sz="825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ru-RU" dirty="0"/>
              <a:t>Введи выводы по трендам	</a:t>
            </a:r>
            <a:endParaRPr lang="en-GB" dirty="0"/>
          </a:p>
        </p:txBody>
      </p:sp>
      <p:sp>
        <p:nvSpPr>
          <p:cNvPr id="74" name="Text Placeholder 37">
            <a:extLst>
              <a:ext uri="{FF2B5EF4-FFF2-40B4-BE49-F238E27FC236}">
                <a16:creationId xmlns:a16="http://schemas.microsoft.com/office/drawing/2014/main" id="{C76607BE-E271-4988-BAB3-351623D6DF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725947" y="5909777"/>
            <a:ext cx="2087999" cy="688535"/>
          </a:xfrm>
          <a:prstGeom prst="rect">
            <a:avLst/>
          </a:prstGeom>
          <a:solidFill>
            <a:schemeClr val="accent6"/>
          </a:solidFill>
        </p:spPr>
        <p:txBody>
          <a:bodyPr lIns="53988" tIns="0" rIns="0" bIns="0"/>
          <a:lstStyle>
            <a:lvl1pPr marL="0" marR="0" indent="132122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750">
                <a:solidFill>
                  <a:schemeClr val="bg1"/>
                </a:solidFill>
              </a:defRPr>
            </a:lvl1pPr>
            <a:lvl2pPr>
              <a:defRPr sz="825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</a:lstStyle>
          <a:p>
            <a:pPr marL="0" marR="0" lvl="0" indent="132122" algn="l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/>
              <a:t>Введи выводы по локализации	</a:t>
            </a:r>
            <a:endParaRPr lang="en-GB" dirty="0"/>
          </a:p>
        </p:txBody>
      </p:sp>
      <p:sp>
        <p:nvSpPr>
          <p:cNvPr id="13" name="Flowchart: Off-page Connector 12">
            <a:extLst>
              <a:ext uri="{FF2B5EF4-FFF2-40B4-BE49-F238E27FC236}">
                <a16:creationId xmlns:a16="http://schemas.microsoft.com/office/drawing/2014/main" id="{0ADF419E-11AE-42C5-9126-38E2537E8FE1}"/>
              </a:ext>
            </a:extLst>
          </p:cNvPr>
          <p:cNvSpPr/>
          <p:nvPr userDrawn="1"/>
        </p:nvSpPr>
        <p:spPr>
          <a:xfrm>
            <a:off x="330061" y="1066227"/>
            <a:ext cx="2088000" cy="367640"/>
          </a:xfrm>
          <a:prstGeom prst="flowChartOffpageConnector">
            <a:avLst/>
          </a:prstGeom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/>
          <a:p>
            <a:pPr marL="0" marR="0" lvl="0" indent="0" algn="ctr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писание отрасли</a:t>
            </a:r>
            <a:endParaRPr kumimoji="0" lang="en-GB" sz="82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1A9806B-4F68-43EC-B251-1C7445F8B15B}"/>
              </a:ext>
            </a:extLst>
          </p:cNvPr>
          <p:cNvSpPr>
            <a:spLocks noChangeAspect="1"/>
          </p:cNvSpPr>
          <p:nvPr userDrawn="1">
            <p:custDataLst>
              <p:tags r:id="rId4"/>
            </p:custDataLst>
          </p:nvPr>
        </p:nvSpPr>
        <p:spPr>
          <a:xfrm>
            <a:off x="2431540" y="975922"/>
            <a:ext cx="18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GB" sz="82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69DB621-51FB-4C94-8620-FA6E5387E6AE}"/>
              </a:ext>
            </a:extLst>
          </p:cNvPr>
          <p:cNvSpPr>
            <a:spLocks noChangeAspect="1"/>
          </p:cNvSpPr>
          <p:nvPr userDrawn="1">
            <p:custDataLst>
              <p:tags r:id="rId5"/>
            </p:custDataLst>
          </p:nvPr>
        </p:nvSpPr>
        <p:spPr>
          <a:xfrm>
            <a:off x="4563499" y="975922"/>
            <a:ext cx="18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GB" sz="82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17643AE-755A-456A-929C-E6E07BD62233}"/>
              </a:ext>
            </a:extLst>
          </p:cNvPr>
          <p:cNvSpPr>
            <a:spLocks noChangeAspect="1"/>
          </p:cNvSpPr>
          <p:nvPr userDrawn="1">
            <p:custDataLst>
              <p:tags r:id="rId6"/>
            </p:custDataLst>
          </p:nvPr>
        </p:nvSpPr>
        <p:spPr>
          <a:xfrm>
            <a:off x="299581" y="975922"/>
            <a:ext cx="18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GB" sz="82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4FA01474-7F85-49BF-832B-E8AB03B76681}"/>
              </a:ext>
            </a:extLst>
          </p:cNvPr>
          <p:cNvSpPr>
            <a:spLocks noChangeAspect="1"/>
          </p:cNvSpPr>
          <p:nvPr userDrawn="1">
            <p:custDataLst>
              <p:tags r:id="rId7"/>
            </p:custDataLst>
          </p:nvPr>
        </p:nvSpPr>
        <p:spPr>
          <a:xfrm>
            <a:off x="6695458" y="975922"/>
            <a:ext cx="180000" cy="180000"/>
          </a:xfrm>
          <a:prstGeom prst="ellipse">
            <a:avLst/>
          </a:prstGeom>
          <a:solidFill>
            <a:srgbClr val="AD010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marL="0" marR="0" lvl="0" indent="0" algn="ctr" defTabSz="68560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5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GB" sz="82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6402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DDF6C6-7531-46E9-9600-6F57B29E2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15788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17936"/>
          <a:stretch/>
        </p:blipFill>
        <p:spPr>
          <a:xfrm>
            <a:off x="223737" y="1502293"/>
            <a:ext cx="8792308" cy="4142759"/>
          </a:xfrm>
          <a:prstGeom prst="rect">
            <a:avLst/>
          </a:prstGeom>
        </p:spPr>
      </p:pic>
      <p:sp>
        <p:nvSpPr>
          <p:cNvPr id="14" name="Прямоугольник 13"/>
          <p:cNvSpPr/>
          <p:nvPr userDrawn="1"/>
        </p:nvSpPr>
        <p:spPr>
          <a:xfrm>
            <a:off x="308156" y="1502286"/>
            <a:ext cx="6026257" cy="2821886"/>
          </a:xfrm>
          <a:prstGeom prst="rect">
            <a:avLst/>
          </a:prstGeom>
          <a:gradFill flip="none" rotWithShape="1">
            <a:gsLst>
              <a:gs pos="4000">
                <a:srgbClr val="002060">
                  <a:alpha val="90000"/>
                  <a:lumMod val="100000"/>
                </a:srgbClr>
              </a:gs>
              <a:gs pos="67000">
                <a:srgbClr val="830051">
                  <a:shade val="100000"/>
                  <a:satMod val="115000"/>
                  <a:alpha val="90000"/>
                </a:srgb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4" tIns="34283" rIns="68564" bIns="34283" rtlCol="0" anchor="ctr"/>
          <a:lstStyle/>
          <a:p>
            <a:pPr marL="0" marR="0" lvl="0" indent="0" algn="ctr" defTabSz="68561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 pitchFamily="2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8156" y="1502300"/>
            <a:ext cx="6026257" cy="1882265"/>
          </a:xfrm>
        </p:spPr>
        <p:txBody>
          <a:bodyPr bIns="233944" anchor="b">
            <a:normAutofit/>
          </a:bodyPr>
          <a:lstStyle>
            <a:lvl1pPr marL="307658" indent="0" algn="l">
              <a:defRPr sz="1200" b="1" spc="0" baseline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1041" y="1825625"/>
            <a:ext cx="8543925" cy="4351338"/>
          </a:xfrm>
          <a:prstGeom prst="rect">
            <a:avLst/>
          </a:prstGeom>
        </p:spPr>
        <p:txBody>
          <a:bodyPr vert="horz" lIns="91418" tIns="45710" rIns="91418" bIns="45710" rtlCol="0">
            <a:normAutofit/>
          </a:bodyPr>
          <a:lstStyle>
            <a:lvl1pPr marL="171405" indent="-171405" algn="l" defTabSz="685618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514214" indent="-171405" algn="l" defTabSz="68561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2pPr>
            <a:lvl3pPr marL="857024" indent="-171405" algn="l" defTabSz="68561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3pPr>
            <a:lvl4pPr marL="1199832" indent="-171405" algn="l" defTabSz="68561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4pPr>
            <a:lvl5pPr marL="1542641" indent="-171405" algn="l" defTabSz="68561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b="0" i="0" kern="1200">
                <a:solidFill>
                  <a:schemeClr val="tx1">
                    <a:lumMod val="85000"/>
                    <a:lumOff val="15000"/>
                  </a:schemeClr>
                </a:solidFill>
                <a:latin typeface="Helvetica" pitchFamily="2" charset="0"/>
                <a:ea typeface="+mn-ea"/>
                <a:cs typeface="+mn-cs"/>
              </a:defRPr>
            </a:lvl5pPr>
            <a:lvl6pPr marL="1885450" indent="-171405" algn="l" defTabSz="68561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259" indent="-171405" algn="l" defTabSz="68561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070" indent="-171405" algn="l" defTabSz="68561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3878" indent="-171405" algn="l" defTabSz="685618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1038" y="6356366"/>
            <a:ext cx="2228850" cy="365125"/>
          </a:xfrm>
          <a:prstGeom prst="rect">
            <a:avLst/>
          </a:prstGeom>
        </p:spPr>
        <p:txBody>
          <a:bodyPr vert="horz" lIns="91418" tIns="45710" rIns="91418" bIns="45710" rtlCol="0" anchor="ctr"/>
          <a:lstStyle>
            <a:defPPr lvl="0">
              <a:defRPr lang="en-US"/>
            </a:defPPr>
            <a:lvl1pPr marL="0" lvl="0" algn="l" defTabSz="342809" rtl="0" eaLnBrk="1" latinLnBrk="0" hangingPunct="1">
              <a:defRPr sz="9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342809" lvl="1" algn="l" defTabSz="342809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8" lvl="2" algn="l" defTabSz="342809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7" lvl="3" algn="l" defTabSz="342809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7" lvl="4" algn="l" defTabSz="342809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6" lvl="5" algn="l" defTabSz="342809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6" lvl="6" algn="l" defTabSz="342809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4" lvl="7" algn="l" defTabSz="342809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73" lvl="8" algn="l" defTabSz="342809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81366" y="6356366"/>
            <a:ext cx="3343275" cy="365125"/>
          </a:xfrm>
          <a:prstGeom prst="rect">
            <a:avLst/>
          </a:prstGeom>
        </p:spPr>
        <p:txBody>
          <a:bodyPr vert="horz" lIns="91418" tIns="45710" rIns="91418" bIns="45710" rtlCol="0" anchor="ctr"/>
          <a:lstStyle>
            <a:defPPr lvl="0">
              <a:defRPr lang="en-US"/>
            </a:defPPr>
            <a:lvl1pPr marL="0" lvl="0" algn="ctr" defTabSz="342809" rtl="0" eaLnBrk="1" latinLnBrk="0" hangingPunct="1">
              <a:defRPr sz="900" b="0" i="0" kern="1200">
                <a:solidFill>
                  <a:schemeClr val="tx1">
                    <a:tint val="75000"/>
                  </a:schemeClr>
                </a:solidFill>
                <a:latin typeface="Helvetica" pitchFamily="2" charset="0"/>
                <a:ea typeface="+mn-ea"/>
                <a:cs typeface="+mn-cs"/>
              </a:defRPr>
            </a:lvl1pPr>
            <a:lvl2pPr marL="342809" lvl="1" algn="l" defTabSz="342809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618" lvl="2" algn="l" defTabSz="342809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427" lvl="3" algn="l" defTabSz="342809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237" lvl="4" algn="l" defTabSz="342809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046" lvl="5" algn="l" defTabSz="342809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856" lvl="6" algn="l" defTabSz="342809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664" lvl="7" algn="l" defTabSz="342809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2473" lvl="8" algn="l" defTabSz="342809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1" name="Picture 9" descr="Картинка 1 из 968">
            <a:hlinkClick r:id="rId3"/>
            <a:extLst>
              <a:ext uri="{FF2B5EF4-FFF2-40B4-BE49-F238E27FC236}">
                <a16:creationId xmlns:a16="http://schemas.microsoft.com/office/drawing/2014/main" id="{6813568D-9A78-1A4C-84CD-16FFDAE8954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167090" y="320984"/>
            <a:ext cx="1181082" cy="165128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037428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761575"/>
            <a:ext cx="7772400" cy="20774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lIns="91418" tIns="45710" rIns="91418" bIns="45710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1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95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3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 lIns="91418" tIns="45710" rIns="91418" bIns="45710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 lIns="91418" tIns="45710" rIns="91418" bIns="45710"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37070E1-002F-4386-AA9C-53FE28CF429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45518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D735AF-7D35-4E70-BE17-6F710858CC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CE20A0-6E0D-4103-AE8D-2A5EA0E1D3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lIns="91418" tIns="45710" rIns="91418" bIns="4571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357411-15B9-431C-B560-A5FA7446EA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9712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72BD76-BA37-4C78-98B4-94AEB5215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34" y="1134"/>
          <a:ext cx="1134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72BD76-BA37-4C78-98B4-94AEB521510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4" y="1134"/>
                        <a:ext cx="1134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9010" y="97873"/>
            <a:ext cx="7272355" cy="790489"/>
          </a:xfrm>
        </p:spPr>
        <p:txBody>
          <a:bodyPr>
            <a:normAutofit/>
          </a:bodyPr>
          <a:lstStyle>
            <a:lvl1pPr>
              <a:defRPr sz="135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004" y="1247687"/>
            <a:ext cx="8385999" cy="5168486"/>
          </a:xfrm>
        </p:spPr>
        <p:txBody>
          <a:bodyPr>
            <a:normAutofit/>
          </a:bodyPr>
          <a:lstStyle>
            <a:lvl1pPr marL="124179" indent="-124179">
              <a:buClr>
                <a:srgbClr val="830051"/>
              </a:buClr>
              <a:defRPr sz="975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975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975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975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975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416188"/>
            <a:ext cx="20574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2" y="6416188"/>
            <a:ext cx="3086100" cy="365125"/>
          </a:xfrm>
        </p:spPr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42044" y="6457422"/>
            <a:ext cx="471879" cy="282626"/>
          </a:xfrm>
        </p:spPr>
        <p:txBody>
          <a:bodyPr/>
          <a:lstStyle/>
          <a:p>
            <a:fld id="{6748A8BB-B201-495E-AE28-3EB55DFDA6C9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 flipH="1">
            <a:off x="394422" y="922946"/>
            <a:ext cx="8519500" cy="0"/>
          </a:xfrm>
          <a:prstGeom prst="line">
            <a:avLst/>
          </a:prstGeom>
          <a:ln>
            <a:solidFill>
              <a:srgbClr val="83005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9" name="Picture 17" descr="ÐÐ°ÑÑÐ¸Ð½ÐºÐ¸ Ð¿Ð¾ Ð·Ð°Ð¿ÑÐ¾ÑÑ Ð³ÐµÑÐ± Ð·Ð°Ð±Ð°Ð¹ÐºÐ°Ð»ÑÑÐºÐ¾Ð³Ð¾ ÐºÑÐ°Ñ">
            <a:extLst>
              <a:ext uri="{FF2B5EF4-FFF2-40B4-BE49-F238E27FC236}">
                <a16:creationId xmlns:a16="http://schemas.microsoft.com/office/drawing/2014/main" id="{8605D9A2-9C4C-4CE0-AFE2-F507020E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2662" y="115293"/>
            <a:ext cx="630000" cy="749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73080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7F2A30-61F8-4104-85E9-D001D06E0E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7CE5A5-270D-41E0-B338-C1DA86E5494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2132863"/>
            <a:ext cx="3886200" cy="40441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14639D8-C12C-4075-AFC9-0643483CF1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2132863"/>
            <a:ext cx="3886200" cy="40441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D1BECB-64B5-4FF3-9D67-7DD3434187E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4FAD61-1E99-4371-B51A-6A94E8AB3F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6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5E4A34A-FC88-43D3-A292-04FFD549F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6C22B4-381E-481C-AFD8-67FB4DE2EDC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12641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FE2938-EF95-4CB9-8B62-4A048E0B02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B15BB7-4595-4B5D-9730-BD9C35E7EE3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6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9A8F67-D004-431B-BF17-8EC7C7CC9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6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B10282-0AD5-4004-B68F-C97D8EF59E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6C22B4-381E-481C-AFD8-67FB4DE2EDC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599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theme" Target="../theme/theme1.xml" /><Relationship Id="rId18" Type="http://schemas.openxmlformats.org/officeDocument/2006/relationships/image" Target="../media/image1.emf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17" Type="http://schemas.openxmlformats.org/officeDocument/2006/relationships/oleObject" Target="../embeddings/oleObject1.bin" /><Relationship Id="rId2" Type="http://schemas.openxmlformats.org/officeDocument/2006/relationships/slideLayout" Target="../slideLayouts/slideLayout2.xml" /><Relationship Id="rId16" Type="http://schemas.openxmlformats.org/officeDocument/2006/relationships/tags" Target="../tags/tag2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5" Type="http://schemas.openxmlformats.org/officeDocument/2006/relationships/tags" Target="../tags/tag1.xml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vmlDrawing" Target="../drawings/vmlDrawing1.v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161A04C-3858-4FB3-A3A2-4779EF8F87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161A04C-3858-4FB3-A3A2-4779EF8F87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1DCB1F35-8CE0-4880-A24F-E52FEBD59E10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68561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CFF6AF-3373-42A9-B272-65C59ADF2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454" y="442262"/>
            <a:ext cx="8278761" cy="20774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D7E7F4-84C9-4799-82E7-346A9BBDD8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663812" y="6356363"/>
            <a:ext cx="2057400" cy="365125"/>
          </a:xfrm>
          <a:prstGeom prst="rect">
            <a:avLst/>
          </a:prstGeom>
        </p:spPr>
        <p:txBody>
          <a:bodyPr vert="horz" lIns="91418" tIns="45710" rIns="91418" bIns="45710" rtlCol="0" anchor="ctr"/>
          <a:lstStyle>
            <a:lvl1pPr algn="r">
              <a:defRPr sz="825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7264718-516D-4284-812E-2FE0C1302E6C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508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7" r:id="rId7"/>
    <p:sldLayoutId id="2147483801" r:id="rId8"/>
    <p:sldLayoutId id="2147483802" r:id="rId9"/>
    <p:sldLayoutId id="2147483803" r:id="rId10"/>
    <p:sldLayoutId id="2147483804" r:id="rId11"/>
    <p:sldLayoutId id="2147483805" r:id="rId12"/>
  </p:sldLayoutIdLst>
  <p:hf hdr="0" ftr="0" dt="0"/>
  <p:txStyles>
    <p:titleStyle>
      <a:lvl1pPr algn="l" defTabSz="685618" rtl="0" eaLnBrk="1" latinLnBrk="0" hangingPunct="1">
        <a:lnSpc>
          <a:spcPct val="90000"/>
        </a:lnSpc>
        <a:spcBef>
          <a:spcPct val="0"/>
        </a:spcBef>
        <a:buNone/>
        <a:defRPr sz="15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05" indent="-171405" algn="l" defTabSz="685618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4214" indent="-171405" algn="l" defTabSz="68561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024" indent="-171405" algn="l" defTabSz="68561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199832" indent="-171405" algn="l" defTabSz="68561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2641" indent="-171405" algn="l" defTabSz="68561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450" indent="-171405" algn="l" defTabSz="68561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259" indent="-171405" algn="l" defTabSz="68561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070" indent="-171405" algn="l" defTabSz="68561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3878" indent="-171405" algn="l" defTabSz="685618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6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09" algn="l" defTabSz="6856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18" algn="l" defTabSz="6856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27" algn="l" defTabSz="6856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37" algn="l" defTabSz="6856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46" algn="l" defTabSz="6856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56" algn="l" defTabSz="6856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664" algn="l" defTabSz="6856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473" algn="l" defTabSz="68561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 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79010" y="97873"/>
            <a:ext cx="7991906" cy="790489"/>
          </a:xfrm>
        </p:spPr>
        <p:txBody>
          <a:bodyPr>
            <a:noAutofit/>
          </a:bodyPr>
          <a:lstStyle/>
          <a:p>
            <a:r>
              <a:rPr lang="ru-RU" sz="1800" dirty="0"/>
              <a:t>ПЕРЕЧЕНЬ МАССОВЫХ СОЦИАЛЬНО ЗНАЧИМЫХ УСЛУГ, ПЕРЕВЕДЕННЫХ В ЭЛЕКТРОННЫЙ ФОРМАТ </a:t>
            </a:r>
            <a:br>
              <a:rPr lang="ru-RU" sz="1800" dirty="0"/>
            </a:br>
            <a:r>
              <a:rPr lang="ru-RU" sz="1800" dirty="0"/>
              <a:t>ПО СОСТОЯНИЮ НА 23.08.2021 г.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2491469"/>
              </p:ext>
            </p:extLst>
          </p:nvPr>
        </p:nvGraphicFramePr>
        <p:xfrm>
          <a:off x="98431" y="999443"/>
          <a:ext cx="8902931" cy="5692300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162631">
                  <a:extLst>
                    <a:ext uri="{9D8B030D-6E8A-4147-A177-3AD203B41FA5}">
                      <a16:colId xmlns:a16="http://schemas.microsoft.com/office/drawing/2014/main" val="842820866"/>
                    </a:ext>
                  </a:extLst>
                </a:gridCol>
                <a:gridCol w="6740300">
                  <a:extLst>
                    <a:ext uri="{9D8B030D-6E8A-4147-A177-3AD203B41FA5}">
                      <a16:colId xmlns:a16="http://schemas.microsoft.com/office/drawing/2014/main" val="3534995497"/>
                    </a:ext>
                  </a:extLst>
                </a:gridCol>
              </a:tblGrid>
              <a:tr h="2845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именование ведомств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DC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именование  социально-значимой услуг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D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9412608"/>
                  </a:ext>
                </a:extLst>
              </a:tr>
              <a:tr h="490190">
                <a:tc row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Министерство образования </a:t>
                      </a:r>
                      <a:b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</a:b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и науки Забайкальского края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DC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. Выплата компенсации части родительской платы за присмотр и уход за детьми в государственных </a:t>
                      </a:r>
                      <a:b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и муниципальных образовательных организациях, находящихся на территории соответствующего субъекта Российской Федерации</a:t>
                      </a:r>
                      <a:endParaRPr lang="ru-RU" sz="1000" b="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791197"/>
                  </a:ext>
                </a:extLst>
              </a:tr>
              <a:tr h="3100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  <a:latin typeface="+mj-lt"/>
                          <a:ea typeface="Times New Roman" panose="02020603050405020304" pitchFamily="18" charset="0"/>
                        </a:rPr>
                        <a:t>2. Организация отдыха детей в каникулярное время</a:t>
                      </a:r>
                    </a:p>
                  </a:txBody>
                  <a:tcPr marL="50800" marR="50800" marT="50800" marB="50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5089198"/>
                  </a:ext>
                </a:extLst>
              </a:tr>
              <a:tr h="43706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+mj-lt"/>
                        </a:rPr>
                        <a:t>Министерство природных ресурсов Забайкальского края</a:t>
                      </a:r>
                      <a:endParaRPr lang="ru-RU" sz="1000" b="1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DC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. Прием лесных деклараций и отчетов об использовании лесов</a:t>
                      </a:r>
                      <a:endParaRPr lang="ru-RU" sz="10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509569"/>
                  </a:ext>
                </a:extLst>
              </a:tr>
              <a:tr h="6612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+mj-lt"/>
                        </a:rPr>
                        <a:t>Министерство строительства, дорожного хозяйства и транспорта Забайкальского края</a:t>
                      </a:r>
                      <a:endParaRPr lang="ru-RU" sz="1000" b="1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DC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. Выдача разрешения (переоформление разрешения, выдача дубликата разрешения) на осуществление деятельности по перевозке пассажиров и багажа легковым такси на территории субъекта Российской Федерации</a:t>
                      </a:r>
                      <a:endParaRPr lang="ru-RU" sz="10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339413"/>
                  </a:ext>
                </a:extLst>
              </a:tr>
              <a:tr h="155268">
                <a:tc rowSpan="3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+mj-lt"/>
                        </a:rPr>
                        <a:t>Министерство физической культуры и спорта Забайкальского края</a:t>
                      </a:r>
                      <a:endParaRPr lang="ru-RU" sz="1000" b="1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DC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. Присвоение спортивных разрядов</a:t>
                      </a:r>
                      <a:endParaRPr lang="ru-RU" sz="10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7730720"/>
                  </a:ext>
                </a:extLst>
              </a:tr>
              <a:tr h="15526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. Присвоение квалификационных категорий спортивных судей</a:t>
                      </a:r>
                      <a:endParaRPr lang="ru-RU" sz="10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4921208"/>
                  </a:ext>
                </a:extLst>
              </a:tr>
              <a:tr h="4901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7. Государственная регистрация региональных общественных организаций или структурных подразделений (региональных отделений) общероссийской спортивной федерации для наделения их статусом региональных спортивных федераций</a:t>
                      </a:r>
                      <a:endParaRPr lang="ru-RU" sz="10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8602203"/>
                  </a:ext>
                </a:extLst>
              </a:tr>
              <a:tr h="490190">
                <a:tc rowSpan="4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+mj-lt"/>
                        </a:rPr>
                        <a:t>Государственная инспекция Забайкальского края</a:t>
                      </a:r>
                      <a:endParaRPr lang="ru-RU" sz="1000" b="1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DC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8. Государственная регистрация самоходных машин и прицепов к ним (кроме самоходных машин, военной, специальной и других видов техники Вооруженных Сил Российской Федерации, других войск, воинских формирований и органов, опытных (испытательных) образцов вооружения, военной и специальной техники)</a:t>
                      </a:r>
                      <a:endParaRPr lang="ru-RU" sz="10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1074956"/>
                  </a:ext>
                </a:extLst>
              </a:tr>
              <a:tr h="32272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9. Прием экзаменов на право управления самоходными машинами и выдача удостоверений тракториста-машиниста (тракториста)</a:t>
                      </a:r>
                      <a:endParaRPr lang="ru-RU" sz="10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10076280"/>
                  </a:ext>
                </a:extLst>
              </a:tr>
              <a:tr h="32272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 Проведение технического осмотра самоходных машин и других видов техники, зарегистрированных органами, осуществляющими государственный надзор за их техническим состоянием</a:t>
                      </a:r>
                      <a:endParaRPr lang="ru-RU" sz="10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4803426"/>
                  </a:ext>
                </a:extLst>
              </a:tr>
              <a:tr h="15526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1. Лицензирование предпринимательской деятельности по управлению многоквартирными домами</a:t>
                      </a:r>
                      <a:endParaRPr lang="ru-RU" sz="10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711012"/>
                  </a:ext>
                </a:extLst>
              </a:tr>
              <a:tr h="65765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+mj-lt"/>
                        </a:rPr>
                        <a:t>Государственная ветеринарная служба Забайкальского края</a:t>
                      </a:r>
                      <a:endParaRPr lang="ru-RU" sz="1000" b="1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DC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2.</a:t>
                      </a:r>
                      <a:r>
                        <a:rPr lang="ru-RU" sz="1000" kern="1200" baseline="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Регистрация специалистов в области ветеринарии, не являющихся уполномоченными лицами органов </a:t>
                      </a:r>
                      <a:br>
                        <a:rPr lang="ru-RU" sz="10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ru-RU" sz="10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и организаций, входящих в систему Государственной ветеринарной службы Российской Федерации, занимающихся предпринимательской деятельностью в области ветеринарии на территории Забайкальского края</a:t>
                      </a:r>
                      <a:endParaRPr lang="ru-RU" sz="10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9888778"/>
                  </a:ext>
                </a:extLst>
              </a:tr>
              <a:tr h="322729">
                <a:tc row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+mj-lt"/>
                        </a:rPr>
                        <a:t>Департамент государственного имущества и земельных отношений Забайкальского края</a:t>
                      </a:r>
                      <a:endParaRPr lang="ru-RU" sz="1000" b="1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DC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3. Отнесение земель или земельных участков к определенной категории или перевод земель или земельных участков из одной категории в другую</a:t>
                      </a:r>
                      <a:endParaRPr lang="ru-RU" sz="10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6463840"/>
                  </a:ext>
                </a:extLst>
              </a:tr>
              <a:tr h="43706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4. Предоставление земельного участка, находящегося в муниципальной собственности, или государственная собственность на который не разграничена, на торгах</a:t>
                      </a:r>
                      <a:endParaRPr lang="ru-RU" sz="10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96136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522410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79010" y="97873"/>
            <a:ext cx="7958655" cy="790489"/>
          </a:xfrm>
        </p:spPr>
        <p:txBody>
          <a:bodyPr>
            <a:noAutofit/>
          </a:bodyPr>
          <a:lstStyle/>
          <a:p>
            <a:r>
              <a:rPr lang="ru-RU" sz="1800" dirty="0"/>
              <a:t>ПЕРЕЧЕНЬ МАССОВЫХ СОЦИАЛЬНО ЗНАЧИМЫХ УСЛУГ, ПЕРЕВЕДЕННЫХ В ЭЛЕКТРОННЫЙ ФОРМАТ </a:t>
            </a:r>
            <a:br>
              <a:rPr lang="ru-RU" sz="1800" dirty="0"/>
            </a:br>
            <a:r>
              <a:rPr lang="ru-RU" sz="1800" dirty="0"/>
              <a:t>ПО СОСТОЯНИЮ НА 23.08.2021 г.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8532871"/>
              </p:ext>
            </p:extLst>
          </p:nvPr>
        </p:nvGraphicFramePr>
        <p:xfrm>
          <a:off x="131682" y="951109"/>
          <a:ext cx="8879315" cy="5909724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023787">
                  <a:extLst>
                    <a:ext uri="{9D8B030D-6E8A-4147-A177-3AD203B41FA5}">
                      <a16:colId xmlns:a16="http://schemas.microsoft.com/office/drawing/2014/main" val="842820866"/>
                    </a:ext>
                  </a:extLst>
                </a:gridCol>
                <a:gridCol w="7855528">
                  <a:extLst>
                    <a:ext uri="{9D8B030D-6E8A-4147-A177-3AD203B41FA5}">
                      <a16:colId xmlns:a16="http://schemas.microsoft.com/office/drawing/2014/main" val="3534995497"/>
                    </a:ext>
                  </a:extLst>
                </a:gridCol>
              </a:tblGrid>
              <a:tr h="36541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именование</a:t>
                      </a:r>
                      <a:r>
                        <a:rPr lang="ru-RU" sz="1000" b="1" baseline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образования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DC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именование  социально-значимой услуг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D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883529"/>
                  </a:ext>
                </a:extLst>
              </a:tr>
              <a:tr h="152289">
                <a:tc rowSpan="2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</a:rPr>
                        <a:t>ГО «Город Чита»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ADDCD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дача градостроительного плана земельного участка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332272"/>
                  </a:ext>
                </a:extLst>
              </a:tr>
              <a:tr h="1522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дача решения о согласовании архитектурно-градостроительного облика объекта капитального строительства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3082254"/>
                  </a:ext>
                </a:extLst>
              </a:tr>
              <a:tr h="3126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разрешения на условно разрешенный вид использования земельного участка или объекта капитального строительства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6305179"/>
                  </a:ext>
                </a:extLst>
              </a:tr>
              <a:tr h="1522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своение адреса объекту адресации, изменение и аннулирование такого адреса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2631287"/>
                  </a:ext>
                </a:extLst>
              </a:tr>
              <a:tr h="1522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дача разрешений на право вырубки зеленых насаждений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3438871"/>
                  </a:ext>
                </a:extLst>
              </a:tr>
              <a:tr h="3126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распределение земель и (или) земельных участков, находящихся в государственной или муниципальной собственности, </a:t>
                      </a:r>
                      <a:b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 земельных участков, находящихся в частной собственности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5162341"/>
                  </a:ext>
                </a:extLst>
              </a:tr>
              <a:tr h="1522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тверждение схемы расположения земельного участка или земельных участков на кадастровом плане территории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3219800"/>
                  </a:ext>
                </a:extLst>
              </a:tr>
              <a:tr h="3126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дача разрешения на использование земель или земельного участка, которые находятся в государственной </a:t>
                      </a:r>
                      <a:b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ли муниципальной собственности, без предоставления земельных участков и установления сервитута, публичного сервитута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2449037"/>
                  </a:ext>
                </a:extLst>
              </a:tr>
              <a:tr h="3126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формационное обеспечение физических и юридических лиц на основе документов Архивного фонда Российской Федерации </a:t>
                      </a:r>
                      <a:b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 других архивных документов, предоставление архивных справок, архивных выписок и копий архивных документов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0139596"/>
                  </a:ext>
                </a:extLst>
              </a:tr>
              <a:tr h="1522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огласование проведения переустройства и (или) перепланировки помещения в многоквартирном доме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2446792"/>
                  </a:ext>
                </a:extLst>
              </a:tr>
              <a:tr h="1522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знание садового дома жилым домом и жилого дома садовым домом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859665"/>
                  </a:ext>
                </a:extLst>
              </a:tr>
              <a:tr h="1522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вод жилого помещения в нежилое помещение и нежилого помещения в жилое помещение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2469800"/>
                  </a:ext>
                </a:extLst>
              </a:tr>
              <a:tr h="1522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дача разрешения на ввод объекта в эксплуатацию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1314086"/>
                  </a:ext>
                </a:extLst>
              </a:tr>
              <a:tr h="1522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дача разрешения на строительство объекта капитального строительства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0124069"/>
                  </a:ext>
                </a:extLst>
              </a:tr>
              <a:tr h="3126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правление уведомления о соответствии построенных или реконструированных объектов индивидуального жилищного строительства или садового дома требованиям законодательства Российской Федерации о градостроительной деятельности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915380"/>
                  </a:ext>
                </a:extLst>
              </a:tr>
              <a:tr h="3126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правление уведомления о соответствии указанных в уведомлении о планируемом строительстве параметров объекта индивидуального жилищного строительства или садового дома на земельном участке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2950993"/>
                  </a:ext>
                </a:extLst>
              </a:tr>
              <a:tr h="3126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разрешения на отклонение от предельных параметров разрешенного строительства, реконструкции объекта капитального строительства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6558850"/>
                  </a:ext>
                </a:extLst>
              </a:tr>
              <a:tr h="1522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разрешения на осуществление земляных работ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7295219"/>
                  </a:ext>
                </a:extLst>
              </a:tr>
              <a:tr h="3126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дача разрешения на установку и эксплуатацию рекламных конструкций на соответствующей территории, аннулирование такого разрешения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0828932"/>
                  </a:ext>
                </a:extLst>
              </a:tr>
              <a:tr h="1522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дготовка и утверждение документации по планировке территории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2258145"/>
                  </a:ext>
                </a:extLst>
              </a:tr>
              <a:tr h="3126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земельного участка, находящегося в муниципальной собственности, или государственная собственность </a:t>
                      </a:r>
                      <a:b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 который не разграничена, на торгах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14213280"/>
                  </a:ext>
                </a:extLst>
              </a:tr>
              <a:tr h="3126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становление сервитута (публичного сервитута) в отношении земельного участка, находящегося в государственной </a:t>
                      </a:r>
                      <a:b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ли муниципальной собственности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7936607"/>
                  </a:ext>
                </a:extLst>
              </a:tr>
              <a:tr h="3126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дача акта освидетельствования проведения основных работ по строительству (реконструкции) объекта индивидуального жилищного строительства с привлечением средств материнского (семейного) капитала</a:t>
                      </a:r>
                      <a:endParaRPr lang="ru-RU" sz="10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03624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448363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dlZIhTjCLPMIw58mF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qKT9OkSZmyPkV0vKSQ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_CIRCLE" val="smart_circle"/>
</p:tagLst>
</file>

<file path=ppt/theme/theme1.xml><?xml version="1.0" encoding="utf-8"?>
<a:theme xmlns:a="http://schemas.openxmlformats.org/drawingml/2006/main" name="Office Theme">
  <a:themeElements>
    <a:clrScheme name="Custom 1">
      <a:dk1>
        <a:sysClr val="windowText" lastClr="000000"/>
      </a:dk1>
      <a:lt1>
        <a:sysClr val="window" lastClr="FFFFFF"/>
      </a:lt1>
      <a:dk2>
        <a:srgbClr val="303030"/>
      </a:dk2>
      <a:lt2>
        <a:srgbClr val="DEDEE0"/>
      </a:lt2>
      <a:accent1>
        <a:srgbClr val="AD0101"/>
      </a:accent1>
      <a:accent2>
        <a:srgbClr val="726056"/>
      </a:accent2>
      <a:accent3>
        <a:srgbClr val="AC956E"/>
      </a:accent3>
      <a:accent4>
        <a:srgbClr val="808DA9"/>
      </a:accent4>
      <a:accent5>
        <a:srgbClr val="424E5B"/>
      </a:accent5>
      <a:accent6>
        <a:srgbClr val="730E00"/>
      </a:accent6>
      <a:hlink>
        <a:srgbClr val="D26900"/>
      </a:hlink>
      <a:folHlink>
        <a:srgbClr val="D89243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080</TotalTime>
  <Words>706</Words>
  <Application>Microsoft Office PowerPoint</Application>
  <PresentationFormat>Экран (4:3)</PresentationFormat>
  <Paragraphs>51</Paragraphs>
  <Slides>2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3" baseType="lpstr">
      <vt:lpstr>Office Theme</vt:lpstr>
      <vt:lpstr>ПЕРЕЧЕНЬ МАССОВЫХ СОЦИАЛЬНО ЗНАЧИМЫХ УСЛУГ, ПЕРЕВЕДЕННЫХ В ЭЛЕКТРОННЫЙ ФОРМАТ  ПО СОСТОЯНИЮ НА 23.08.2021 г.</vt:lpstr>
      <vt:lpstr>ПЕРЕЧЕНЬ МАССОВЫХ СОЦИАЛЬНО ЗНАЧИМЫХ УСЛУГ, ПЕРЕВЕДЕННЫХ В ЭЛЕКТРОННЫЙ ФОРМАТ  ПО СОСТОЯНИЮ НА 23.08.2021 г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ОРОЖНЫЙ ФОНД ЗАБАЙКАЛЬСКОГО КРАЯ</dc:title>
  <dc:creator>Гравшин Алексей Сергеевич</dc:creator>
  <cp:lastModifiedBy>Неизвестный пользователь</cp:lastModifiedBy>
  <cp:revision>1293</cp:revision>
  <cp:lastPrinted>2021-08-16T00:35:52Z</cp:lastPrinted>
  <dcterms:modified xsi:type="dcterms:W3CDTF">2021-11-08T05:56:56Z</dcterms:modified>
</cp:coreProperties>
</file>